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0"/>
  </p:notesMasterIdLst>
  <p:sldIdLst>
    <p:sldId id="256" r:id="rId2"/>
    <p:sldId id="263" r:id="rId3"/>
    <p:sldId id="264" r:id="rId4"/>
    <p:sldId id="265" r:id="rId5"/>
    <p:sldId id="266" r:id="rId6"/>
    <p:sldId id="267" r:id="rId7"/>
    <p:sldId id="268" r:id="rId8"/>
    <p:sldId id="269" r:id="rId9"/>
    <p:sldId id="270" r:id="rId10"/>
    <p:sldId id="271" r:id="rId11"/>
    <p:sldId id="272" r:id="rId12"/>
    <p:sldId id="273" r:id="rId13"/>
    <p:sldId id="274" r:id="rId14"/>
    <p:sldId id="276" r:id="rId15"/>
    <p:sldId id="277" r:id="rId16"/>
    <p:sldId id="278" r:id="rId17"/>
    <p:sldId id="279" r:id="rId18"/>
    <p:sldId id="280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5D93F"/>
    <a:srgbClr val="153152"/>
    <a:srgbClr val="7BA2B9"/>
    <a:srgbClr val="F5D9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71406" autoAdjust="0"/>
  </p:normalViewPr>
  <p:slideViewPr>
    <p:cSldViewPr snapToGrid="0">
      <p:cViewPr varScale="1">
        <p:scale>
          <a:sx n="35" d="100"/>
          <a:sy n="35" d="100"/>
        </p:scale>
        <p:origin x="1392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omi Hattingh" userId="48a7f1c5-16cd-4811-a3ae-27be9548732b" providerId="ADAL" clId="{660F3814-DD29-4F03-A1F8-20A656120C8B}"/>
    <pc:docChg chg="custSel modSld">
      <pc:chgData name="Naomi Hattingh" userId="48a7f1c5-16cd-4811-a3ae-27be9548732b" providerId="ADAL" clId="{660F3814-DD29-4F03-A1F8-20A656120C8B}" dt="2025-04-30T01:26:14.580" v="34" actId="27636"/>
      <pc:docMkLst>
        <pc:docMk/>
      </pc:docMkLst>
      <pc:sldChg chg="modSp mod">
        <pc:chgData name="Naomi Hattingh" userId="48a7f1c5-16cd-4811-a3ae-27be9548732b" providerId="ADAL" clId="{660F3814-DD29-4F03-A1F8-20A656120C8B}" dt="2025-04-30T01:21:17.263" v="30" actId="14100"/>
        <pc:sldMkLst>
          <pc:docMk/>
          <pc:sldMk cId="3703266438" sldId="265"/>
        </pc:sldMkLst>
        <pc:spChg chg="mod">
          <ac:chgData name="Naomi Hattingh" userId="48a7f1c5-16cd-4811-a3ae-27be9548732b" providerId="ADAL" clId="{660F3814-DD29-4F03-A1F8-20A656120C8B}" dt="2025-04-30T01:21:17.263" v="30" actId="14100"/>
          <ac:spMkLst>
            <pc:docMk/>
            <pc:sldMk cId="3703266438" sldId="265"/>
            <ac:spMk id="3" creationId="{00000000-0000-0000-0000-000000000000}"/>
          </ac:spMkLst>
        </pc:spChg>
      </pc:sldChg>
      <pc:sldChg chg="modNotesTx">
        <pc:chgData name="Naomi Hattingh" userId="48a7f1c5-16cd-4811-a3ae-27be9548732b" providerId="ADAL" clId="{660F3814-DD29-4F03-A1F8-20A656120C8B}" dt="2025-04-30T01:23:39.068" v="31"/>
        <pc:sldMkLst>
          <pc:docMk/>
          <pc:sldMk cId="1683968946" sldId="269"/>
        </pc:sldMkLst>
      </pc:sldChg>
      <pc:sldChg chg="modSp mod">
        <pc:chgData name="Naomi Hattingh" userId="48a7f1c5-16cd-4811-a3ae-27be9548732b" providerId="ADAL" clId="{660F3814-DD29-4F03-A1F8-20A656120C8B}" dt="2025-04-28T07:16:32.957" v="1" actId="27636"/>
        <pc:sldMkLst>
          <pc:docMk/>
          <pc:sldMk cId="2234306383" sldId="271"/>
        </pc:sldMkLst>
        <pc:spChg chg="mod">
          <ac:chgData name="Naomi Hattingh" userId="48a7f1c5-16cd-4811-a3ae-27be9548732b" providerId="ADAL" clId="{660F3814-DD29-4F03-A1F8-20A656120C8B}" dt="2025-04-28T07:16:32.957" v="1" actId="27636"/>
          <ac:spMkLst>
            <pc:docMk/>
            <pc:sldMk cId="2234306383" sldId="271"/>
            <ac:spMk id="3" creationId="{00000000-0000-0000-0000-000000000000}"/>
          </ac:spMkLst>
        </pc:spChg>
      </pc:sldChg>
      <pc:sldChg chg="modNotesTx">
        <pc:chgData name="Naomi Hattingh" userId="48a7f1c5-16cd-4811-a3ae-27be9548732b" providerId="ADAL" clId="{660F3814-DD29-4F03-A1F8-20A656120C8B}" dt="2025-04-30T01:24:48.010" v="32"/>
        <pc:sldMkLst>
          <pc:docMk/>
          <pc:sldMk cId="1675503735" sldId="273"/>
        </pc:sldMkLst>
      </pc:sldChg>
      <pc:sldChg chg="modSp mod">
        <pc:chgData name="Naomi Hattingh" userId="48a7f1c5-16cd-4811-a3ae-27be9548732b" providerId="ADAL" clId="{660F3814-DD29-4F03-A1F8-20A656120C8B}" dt="2025-04-28T07:25:47.884" v="11" actId="27636"/>
        <pc:sldMkLst>
          <pc:docMk/>
          <pc:sldMk cId="2108558651" sldId="274"/>
        </pc:sldMkLst>
        <pc:spChg chg="mod">
          <ac:chgData name="Naomi Hattingh" userId="48a7f1c5-16cd-4811-a3ae-27be9548732b" providerId="ADAL" clId="{660F3814-DD29-4F03-A1F8-20A656120C8B}" dt="2025-04-28T07:25:47.884" v="11" actId="27636"/>
          <ac:spMkLst>
            <pc:docMk/>
            <pc:sldMk cId="2108558651" sldId="274"/>
            <ac:spMk id="3" creationId="{00000000-0000-0000-0000-000000000000}"/>
          </ac:spMkLst>
        </pc:spChg>
      </pc:sldChg>
      <pc:sldChg chg="modSp mod">
        <pc:chgData name="Naomi Hattingh" userId="48a7f1c5-16cd-4811-a3ae-27be9548732b" providerId="ADAL" clId="{660F3814-DD29-4F03-A1F8-20A656120C8B}" dt="2025-04-28T07:16:59.053" v="4" actId="33524"/>
        <pc:sldMkLst>
          <pc:docMk/>
          <pc:sldMk cId="2159032860" sldId="276"/>
        </pc:sldMkLst>
        <pc:spChg chg="mod">
          <ac:chgData name="Naomi Hattingh" userId="48a7f1c5-16cd-4811-a3ae-27be9548732b" providerId="ADAL" clId="{660F3814-DD29-4F03-A1F8-20A656120C8B}" dt="2025-04-28T07:16:59.053" v="4" actId="33524"/>
          <ac:spMkLst>
            <pc:docMk/>
            <pc:sldMk cId="2159032860" sldId="276"/>
            <ac:spMk id="3" creationId="{00000000-0000-0000-0000-000000000000}"/>
          </ac:spMkLst>
        </pc:spChg>
      </pc:sldChg>
      <pc:sldChg chg="modSp mod">
        <pc:chgData name="Naomi Hattingh" userId="48a7f1c5-16cd-4811-a3ae-27be9548732b" providerId="ADAL" clId="{660F3814-DD29-4F03-A1F8-20A656120C8B}" dt="2025-04-30T01:26:14.580" v="34" actId="27636"/>
        <pc:sldMkLst>
          <pc:docMk/>
          <pc:sldMk cId="1152002101" sldId="278"/>
        </pc:sldMkLst>
        <pc:spChg chg="mod">
          <ac:chgData name="Naomi Hattingh" userId="48a7f1c5-16cd-4811-a3ae-27be9548732b" providerId="ADAL" clId="{660F3814-DD29-4F03-A1F8-20A656120C8B}" dt="2025-04-30T01:26:14.580" v="34" actId="27636"/>
          <ac:spMkLst>
            <pc:docMk/>
            <pc:sldMk cId="1152002101" sldId="278"/>
            <ac:spMk id="3" creationId="{00000000-0000-0000-0000-000000000000}"/>
          </ac:spMkLst>
        </pc:spChg>
      </pc:sldChg>
      <pc:sldChg chg="modSp mod">
        <pc:chgData name="Naomi Hattingh" userId="48a7f1c5-16cd-4811-a3ae-27be9548732b" providerId="ADAL" clId="{660F3814-DD29-4F03-A1F8-20A656120C8B}" dt="2025-04-28T07:26:48.278" v="27" actId="20577"/>
        <pc:sldMkLst>
          <pc:docMk/>
          <pc:sldMk cId="192434701" sldId="279"/>
        </pc:sldMkLst>
        <pc:spChg chg="mod">
          <ac:chgData name="Naomi Hattingh" userId="48a7f1c5-16cd-4811-a3ae-27be9548732b" providerId="ADAL" clId="{660F3814-DD29-4F03-A1F8-20A656120C8B}" dt="2025-04-28T07:26:48.278" v="27" actId="20577"/>
          <ac:spMkLst>
            <pc:docMk/>
            <pc:sldMk cId="192434701" sldId="279"/>
            <ac:spMk id="3" creationId="{00000000-0000-0000-0000-000000000000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A0BD5F-429B-4867-B191-EC60ABC61E76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2B14F1C-20EE-4D61-8D50-0E0A356FA096}">
      <dgm:prSet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Body image</a:t>
          </a:r>
        </a:p>
      </dgm:t>
    </dgm:pt>
    <dgm:pt modelId="{6F346D37-1FC3-48C2-B3EA-B06398954CE8}" type="parTrans" cxnId="{CE0F111A-B878-4448-AB25-C18029E4036B}">
      <dgm:prSet/>
      <dgm:spPr/>
      <dgm:t>
        <a:bodyPr/>
        <a:lstStyle/>
        <a:p>
          <a:endParaRPr lang="en-US"/>
        </a:p>
      </dgm:t>
    </dgm:pt>
    <dgm:pt modelId="{AD558660-671A-4465-9963-F3B251A3DCDA}" type="sibTrans" cxnId="{CE0F111A-B878-4448-AB25-C18029E4036B}">
      <dgm:prSet/>
      <dgm:spPr/>
      <dgm:t>
        <a:bodyPr/>
        <a:lstStyle/>
        <a:p>
          <a:endParaRPr lang="en-US"/>
        </a:p>
      </dgm:t>
    </dgm:pt>
    <dgm:pt modelId="{FEF0EB54-7DAB-46C5-936D-28B0B1F70931}">
      <dgm:prSet/>
      <dgm:spPr>
        <a:solidFill>
          <a:srgbClr val="FFC000"/>
        </a:solidFill>
      </dgm:spPr>
      <dgm:t>
        <a:bodyPr/>
        <a:lstStyle/>
        <a:p>
          <a:r>
            <a:rPr lang="en-US"/>
            <a:t>Personal preference</a:t>
          </a:r>
          <a:endParaRPr lang="en-US" dirty="0"/>
        </a:p>
      </dgm:t>
    </dgm:pt>
    <dgm:pt modelId="{9BA7B0FF-B2CB-485B-AD9D-2E2A582F957F}" type="parTrans" cxnId="{1888BC5B-8D8A-4FFF-BC97-10FFC2F2E50A}">
      <dgm:prSet/>
      <dgm:spPr/>
      <dgm:t>
        <a:bodyPr/>
        <a:lstStyle/>
        <a:p>
          <a:endParaRPr lang="en-US"/>
        </a:p>
      </dgm:t>
    </dgm:pt>
    <dgm:pt modelId="{CE90E272-0616-4BC1-BF7E-6650A0454F51}" type="sibTrans" cxnId="{1888BC5B-8D8A-4FFF-BC97-10FFC2F2E50A}">
      <dgm:prSet/>
      <dgm:spPr/>
      <dgm:t>
        <a:bodyPr/>
        <a:lstStyle/>
        <a:p>
          <a:endParaRPr lang="en-US"/>
        </a:p>
      </dgm:t>
    </dgm:pt>
    <dgm:pt modelId="{C95C8894-13DB-4336-B7E8-50BEAFDC98F7}">
      <dgm:prSet/>
      <dgm:spPr>
        <a:solidFill>
          <a:schemeClr val="tx2">
            <a:lumMod val="25000"/>
            <a:lumOff val="75000"/>
          </a:schemeClr>
        </a:solidFill>
      </dgm:spPr>
      <dgm:t>
        <a:bodyPr/>
        <a:lstStyle/>
        <a:p>
          <a:r>
            <a:rPr lang="en-US" dirty="0"/>
            <a:t>Self-image</a:t>
          </a:r>
        </a:p>
      </dgm:t>
    </dgm:pt>
    <dgm:pt modelId="{1DF057AC-DDF0-4BAA-868F-37E2E97461A7}" type="parTrans" cxnId="{49408A46-3431-4CEE-ADAC-23F628B5E300}">
      <dgm:prSet/>
      <dgm:spPr/>
      <dgm:t>
        <a:bodyPr/>
        <a:lstStyle/>
        <a:p>
          <a:endParaRPr lang="en-US"/>
        </a:p>
      </dgm:t>
    </dgm:pt>
    <dgm:pt modelId="{40B11401-8D79-43E5-8949-C6D5E40776DC}" type="sibTrans" cxnId="{49408A46-3431-4CEE-ADAC-23F628B5E300}">
      <dgm:prSet/>
      <dgm:spPr/>
      <dgm:t>
        <a:bodyPr/>
        <a:lstStyle/>
        <a:p>
          <a:endParaRPr lang="en-US"/>
        </a:p>
      </dgm:t>
    </dgm:pt>
    <dgm:pt modelId="{598BF6B8-31CA-41FC-BCFC-45ED2CA225C1}">
      <dgm:prSet/>
      <dgm:spPr>
        <a:solidFill>
          <a:schemeClr val="accent1">
            <a:lumMod val="60000"/>
            <a:lumOff val="40000"/>
          </a:schemeClr>
        </a:solidFill>
      </dgm:spPr>
      <dgm:t>
        <a:bodyPr/>
        <a:lstStyle/>
        <a:p>
          <a:r>
            <a:rPr lang="en-US" dirty="0"/>
            <a:t>Gender expression</a:t>
          </a:r>
        </a:p>
      </dgm:t>
    </dgm:pt>
    <dgm:pt modelId="{13C868DB-BEBD-46A8-8B47-AC0EABBCAAF7}" type="parTrans" cxnId="{8400E8F5-0847-4ED4-9CA4-D5B7F59AA475}">
      <dgm:prSet/>
      <dgm:spPr/>
      <dgm:t>
        <a:bodyPr/>
        <a:lstStyle/>
        <a:p>
          <a:endParaRPr lang="en-US"/>
        </a:p>
      </dgm:t>
    </dgm:pt>
    <dgm:pt modelId="{2782E933-D570-4430-9035-B8D5C6253B73}" type="sibTrans" cxnId="{8400E8F5-0847-4ED4-9CA4-D5B7F59AA475}">
      <dgm:prSet/>
      <dgm:spPr/>
      <dgm:t>
        <a:bodyPr/>
        <a:lstStyle/>
        <a:p>
          <a:endParaRPr lang="en-US"/>
        </a:p>
      </dgm:t>
    </dgm:pt>
    <dgm:pt modelId="{33F907C9-B154-449E-9EA3-CE10FC758AF1}">
      <dgm:prSet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r>
            <a:rPr lang="en-US" dirty="0"/>
            <a:t>Gender identity</a:t>
          </a:r>
        </a:p>
      </dgm:t>
    </dgm:pt>
    <dgm:pt modelId="{98BAF358-20ED-429A-AD7F-C24B1A9D6547}" type="parTrans" cxnId="{93DF88F5-190C-4BB4-A07E-06949F5F836B}">
      <dgm:prSet/>
      <dgm:spPr/>
      <dgm:t>
        <a:bodyPr/>
        <a:lstStyle/>
        <a:p>
          <a:endParaRPr lang="en-US"/>
        </a:p>
      </dgm:t>
    </dgm:pt>
    <dgm:pt modelId="{57FE3503-AF70-404A-A85C-B50C440EA8D7}" type="sibTrans" cxnId="{93DF88F5-190C-4BB4-A07E-06949F5F836B}">
      <dgm:prSet/>
      <dgm:spPr/>
      <dgm:t>
        <a:bodyPr/>
        <a:lstStyle/>
        <a:p>
          <a:endParaRPr lang="en-US"/>
        </a:p>
      </dgm:t>
    </dgm:pt>
    <dgm:pt modelId="{1AB62418-1ED5-48B8-9EB9-5DE16B4A4844}">
      <dgm:prSet/>
      <dgm:spPr>
        <a:solidFill>
          <a:schemeClr val="accent4"/>
        </a:solidFill>
      </dgm:spPr>
      <dgm:t>
        <a:bodyPr/>
        <a:lstStyle/>
        <a:p>
          <a:r>
            <a:rPr lang="en-US" dirty="0"/>
            <a:t>Androgyny</a:t>
          </a:r>
        </a:p>
      </dgm:t>
    </dgm:pt>
    <dgm:pt modelId="{01BFD459-569E-45E9-8F91-A5DC6946EFB2}" type="sibTrans" cxnId="{D2B532E0-567F-49D9-8F54-7B18746C815F}">
      <dgm:prSet/>
      <dgm:spPr/>
      <dgm:t>
        <a:bodyPr/>
        <a:lstStyle/>
        <a:p>
          <a:endParaRPr lang="en-US"/>
        </a:p>
      </dgm:t>
    </dgm:pt>
    <dgm:pt modelId="{4AF182F3-5540-4308-B590-183E3EE1176D}" type="parTrans" cxnId="{D2B532E0-567F-49D9-8F54-7B18746C815F}">
      <dgm:prSet/>
      <dgm:spPr/>
      <dgm:t>
        <a:bodyPr/>
        <a:lstStyle/>
        <a:p>
          <a:endParaRPr lang="en-US"/>
        </a:p>
      </dgm:t>
    </dgm:pt>
    <dgm:pt modelId="{BDFA0D8F-56B8-4A12-8125-287DDD4886B9}" type="pres">
      <dgm:prSet presAssocID="{09A0BD5F-429B-4867-B191-EC60ABC61E76}" presName="linear" presStyleCnt="0">
        <dgm:presLayoutVars>
          <dgm:dir/>
          <dgm:animLvl val="lvl"/>
          <dgm:resizeHandles val="exact"/>
        </dgm:presLayoutVars>
      </dgm:prSet>
      <dgm:spPr/>
    </dgm:pt>
    <dgm:pt modelId="{72EFA147-255E-4DAF-869C-A8AA2CBD1130}" type="pres">
      <dgm:prSet presAssocID="{598BF6B8-31CA-41FC-BCFC-45ED2CA225C1}" presName="parentLin" presStyleCnt="0"/>
      <dgm:spPr/>
    </dgm:pt>
    <dgm:pt modelId="{8916A786-272D-45C3-AAD0-D3FEB3C2DC19}" type="pres">
      <dgm:prSet presAssocID="{598BF6B8-31CA-41FC-BCFC-45ED2CA225C1}" presName="parentLeftMargin" presStyleLbl="node1" presStyleIdx="0" presStyleCnt="6"/>
      <dgm:spPr/>
    </dgm:pt>
    <dgm:pt modelId="{D16B99A1-DEAD-4BC0-9190-367257ED46F0}" type="pres">
      <dgm:prSet presAssocID="{598BF6B8-31CA-41FC-BCFC-45ED2CA225C1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B91D2E23-EF3F-4489-B445-25002FE087BA}" type="pres">
      <dgm:prSet presAssocID="{598BF6B8-31CA-41FC-BCFC-45ED2CA225C1}" presName="negativeSpace" presStyleCnt="0"/>
      <dgm:spPr/>
    </dgm:pt>
    <dgm:pt modelId="{9463072F-C2D9-455F-B604-D84BE146827E}" type="pres">
      <dgm:prSet presAssocID="{598BF6B8-31CA-41FC-BCFC-45ED2CA225C1}" presName="childText" presStyleLbl="conFgAcc1" presStyleIdx="0" presStyleCnt="6">
        <dgm:presLayoutVars>
          <dgm:bulletEnabled val="1"/>
        </dgm:presLayoutVars>
      </dgm:prSet>
      <dgm:spPr/>
    </dgm:pt>
    <dgm:pt modelId="{2C8CD628-F2A0-4190-B1D5-7472D301CB6A}" type="pres">
      <dgm:prSet presAssocID="{2782E933-D570-4430-9035-B8D5C6253B73}" presName="spaceBetweenRectangles" presStyleCnt="0"/>
      <dgm:spPr/>
    </dgm:pt>
    <dgm:pt modelId="{1CCCE9ED-2D5D-4CFC-A852-A4037A91FA49}" type="pres">
      <dgm:prSet presAssocID="{FEF0EB54-7DAB-46C5-936D-28B0B1F70931}" presName="parentLin" presStyleCnt="0"/>
      <dgm:spPr/>
    </dgm:pt>
    <dgm:pt modelId="{37254736-18AB-4779-B8C0-112A207E98A3}" type="pres">
      <dgm:prSet presAssocID="{FEF0EB54-7DAB-46C5-936D-28B0B1F70931}" presName="parentLeftMargin" presStyleLbl="node1" presStyleIdx="0" presStyleCnt="6"/>
      <dgm:spPr/>
    </dgm:pt>
    <dgm:pt modelId="{F6C89C08-C979-4666-A8FE-7C2A0CF33DA1}" type="pres">
      <dgm:prSet presAssocID="{FEF0EB54-7DAB-46C5-936D-28B0B1F70931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47986865-E567-4689-81A0-A1E998E42F1C}" type="pres">
      <dgm:prSet presAssocID="{FEF0EB54-7DAB-46C5-936D-28B0B1F70931}" presName="negativeSpace" presStyleCnt="0"/>
      <dgm:spPr/>
    </dgm:pt>
    <dgm:pt modelId="{C7671AB8-8974-4708-AB69-A50F0DAB9AB0}" type="pres">
      <dgm:prSet presAssocID="{FEF0EB54-7DAB-46C5-936D-28B0B1F70931}" presName="childText" presStyleLbl="conFgAcc1" presStyleIdx="1" presStyleCnt="6">
        <dgm:presLayoutVars>
          <dgm:bulletEnabled val="1"/>
        </dgm:presLayoutVars>
      </dgm:prSet>
      <dgm:spPr/>
    </dgm:pt>
    <dgm:pt modelId="{82278A03-65EA-45F6-B3C6-93108066FE92}" type="pres">
      <dgm:prSet presAssocID="{CE90E272-0616-4BC1-BF7E-6650A0454F51}" presName="spaceBetweenRectangles" presStyleCnt="0"/>
      <dgm:spPr/>
    </dgm:pt>
    <dgm:pt modelId="{37D2C461-81FE-4242-ACB9-3D6651DA6526}" type="pres">
      <dgm:prSet presAssocID="{52B14F1C-20EE-4D61-8D50-0E0A356FA096}" presName="parentLin" presStyleCnt="0"/>
      <dgm:spPr/>
    </dgm:pt>
    <dgm:pt modelId="{F10E86A0-7210-42EE-86DF-8EDAED6B2509}" type="pres">
      <dgm:prSet presAssocID="{52B14F1C-20EE-4D61-8D50-0E0A356FA096}" presName="parentLeftMargin" presStyleLbl="node1" presStyleIdx="1" presStyleCnt="6"/>
      <dgm:spPr/>
    </dgm:pt>
    <dgm:pt modelId="{454D4E63-34D6-403B-A2B3-C929294E8E22}" type="pres">
      <dgm:prSet presAssocID="{52B14F1C-20EE-4D61-8D50-0E0A356FA096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D9D8B390-F6EC-426B-AC9A-EE6303429DA1}" type="pres">
      <dgm:prSet presAssocID="{52B14F1C-20EE-4D61-8D50-0E0A356FA096}" presName="negativeSpace" presStyleCnt="0"/>
      <dgm:spPr/>
    </dgm:pt>
    <dgm:pt modelId="{924E7441-C610-4917-8FD6-FC8A9CB5728C}" type="pres">
      <dgm:prSet presAssocID="{52B14F1C-20EE-4D61-8D50-0E0A356FA096}" presName="childText" presStyleLbl="conFgAcc1" presStyleIdx="2" presStyleCnt="6">
        <dgm:presLayoutVars>
          <dgm:bulletEnabled val="1"/>
        </dgm:presLayoutVars>
      </dgm:prSet>
      <dgm:spPr/>
    </dgm:pt>
    <dgm:pt modelId="{C026C113-2E4C-4B4D-AB13-29FC74399DCC}" type="pres">
      <dgm:prSet presAssocID="{AD558660-671A-4465-9963-F3B251A3DCDA}" presName="spaceBetweenRectangles" presStyleCnt="0"/>
      <dgm:spPr/>
    </dgm:pt>
    <dgm:pt modelId="{26ED9240-F94F-47D3-98C2-9A8C417C3370}" type="pres">
      <dgm:prSet presAssocID="{33F907C9-B154-449E-9EA3-CE10FC758AF1}" presName="parentLin" presStyleCnt="0"/>
      <dgm:spPr/>
    </dgm:pt>
    <dgm:pt modelId="{F341652A-CB07-4AB3-8F98-EC4D2A0CF25F}" type="pres">
      <dgm:prSet presAssocID="{33F907C9-B154-449E-9EA3-CE10FC758AF1}" presName="parentLeftMargin" presStyleLbl="node1" presStyleIdx="2" presStyleCnt="6"/>
      <dgm:spPr/>
    </dgm:pt>
    <dgm:pt modelId="{0AE5EE08-98C8-4B39-BDEC-C4DE451E39AE}" type="pres">
      <dgm:prSet presAssocID="{33F907C9-B154-449E-9EA3-CE10FC758AF1}" presName="parentText" presStyleLbl="node1" presStyleIdx="3" presStyleCnt="6" custLinFactNeighborX="4955" custLinFactNeighborY="10567">
        <dgm:presLayoutVars>
          <dgm:chMax val="0"/>
          <dgm:bulletEnabled val="1"/>
        </dgm:presLayoutVars>
      </dgm:prSet>
      <dgm:spPr/>
    </dgm:pt>
    <dgm:pt modelId="{D2CB666D-B704-487A-9A3E-50B6154BE517}" type="pres">
      <dgm:prSet presAssocID="{33F907C9-B154-449E-9EA3-CE10FC758AF1}" presName="negativeSpace" presStyleCnt="0"/>
      <dgm:spPr/>
    </dgm:pt>
    <dgm:pt modelId="{A9020F73-E8E6-40C8-A1CF-DF347A309E51}" type="pres">
      <dgm:prSet presAssocID="{33F907C9-B154-449E-9EA3-CE10FC758AF1}" presName="childText" presStyleLbl="conFgAcc1" presStyleIdx="3" presStyleCnt="6">
        <dgm:presLayoutVars>
          <dgm:bulletEnabled val="1"/>
        </dgm:presLayoutVars>
      </dgm:prSet>
      <dgm:spPr/>
    </dgm:pt>
    <dgm:pt modelId="{2D252EC7-249F-40C5-8F71-411FD0E296F4}" type="pres">
      <dgm:prSet presAssocID="{57FE3503-AF70-404A-A85C-B50C440EA8D7}" presName="spaceBetweenRectangles" presStyleCnt="0"/>
      <dgm:spPr/>
    </dgm:pt>
    <dgm:pt modelId="{38709F9F-E568-4000-8287-41FF19B2F55E}" type="pres">
      <dgm:prSet presAssocID="{1AB62418-1ED5-48B8-9EB9-5DE16B4A4844}" presName="parentLin" presStyleCnt="0"/>
      <dgm:spPr/>
    </dgm:pt>
    <dgm:pt modelId="{6AE21E35-6D55-4F87-9364-3BF43C7D2B21}" type="pres">
      <dgm:prSet presAssocID="{1AB62418-1ED5-48B8-9EB9-5DE16B4A4844}" presName="parentLeftMargin" presStyleLbl="node1" presStyleIdx="3" presStyleCnt="6"/>
      <dgm:spPr/>
    </dgm:pt>
    <dgm:pt modelId="{430B72E3-AECF-4249-BF0D-753233A76EDD}" type="pres">
      <dgm:prSet presAssocID="{1AB62418-1ED5-48B8-9EB9-5DE16B4A4844}" presName="parentText" presStyleLbl="node1" presStyleIdx="4" presStyleCnt="6" custScaleX="98530" custScaleY="115868" custLinFactNeighborX="16895" custLinFactNeighborY="-4150">
        <dgm:presLayoutVars>
          <dgm:chMax val="0"/>
          <dgm:bulletEnabled val="1"/>
        </dgm:presLayoutVars>
      </dgm:prSet>
      <dgm:spPr/>
    </dgm:pt>
    <dgm:pt modelId="{93FC574F-C313-4E2F-A8C1-EC18A776EFFA}" type="pres">
      <dgm:prSet presAssocID="{1AB62418-1ED5-48B8-9EB9-5DE16B4A4844}" presName="negativeSpace" presStyleCnt="0"/>
      <dgm:spPr/>
    </dgm:pt>
    <dgm:pt modelId="{25CB3C16-4226-4378-8C29-9B6253FFA2FB}" type="pres">
      <dgm:prSet presAssocID="{1AB62418-1ED5-48B8-9EB9-5DE16B4A4844}" presName="childText" presStyleLbl="conFgAcc1" presStyleIdx="4" presStyleCnt="6">
        <dgm:presLayoutVars>
          <dgm:bulletEnabled val="1"/>
        </dgm:presLayoutVars>
      </dgm:prSet>
      <dgm:spPr/>
    </dgm:pt>
    <dgm:pt modelId="{26130CD6-E909-4221-A6E4-9782B2BE6539}" type="pres">
      <dgm:prSet presAssocID="{01BFD459-569E-45E9-8F91-A5DC6946EFB2}" presName="spaceBetweenRectangles" presStyleCnt="0"/>
      <dgm:spPr/>
    </dgm:pt>
    <dgm:pt modelId="{E4FD9E22-B8D2-4480-AB99-1ECE6CA0978E}" type="pres">
      <dgm:prSet presAssocID="{C95C8894-13DB-4336-B7E8-50BEAFDC98F7}" presName="parentLin" presStyleCnt="0"/>
      <dgm:spPr/>
    </dgm:pt>
    <dgm:pt modelId="{AF50B323-05BA-4595-B36C-3EACABA6C702}" type="pres">
      <dgm:prSet presAssocID="{C95C8894-13DB-4336-B7E8-50BEAFDC98F7}" presName="parentLeftMargin" presStyleLbl="node1" presStyleIdx="4" presStyleCnt="6"/>
      <dgm:spPr/>
    </dgm:pt>
    <dgm:pt modelId="{43CD24BE-A082-4542-A0D3-3C837603DACB}" type="pres">
      <dgm:prSet presAssocID="{C95C8894-13DB-4336-B7E8-50BEAFDC98F7}" presName="parentText" presStyleLbl="node1" presStyleIdx="5" presStyleCnt="6">
        <dgm:presLayoutVars>
          <dgm:chMax val="0"/>
          <dgm:bulletEnabled val="1"/>
        </dgm:presLayoutVars>
      </dgm:prSet>
      <dgm:spPr/>
    </dgm:pt>
    <dgm:pt modelId="{B3E36C84-2A57-4EF0-AD55-91AEB32D982E}" type="pres">
      <dgm:prSet presAssocID="{C95C8894-13DB-4336-B7E8-50BEAFDC98F7}" presName="negativeSpace" presStyleCnt="0"/>
      <dgm:spPr/>
    </dgm:pt>
    <dgm:pt modelId="{3D048114-F0A0-4AE2-B35E-8DFF23B1B7D3}" type="pres">
      <dgm:prSet presAssocID="{C95C8894-13DB-4336-B7E8-50BEAFDC98F7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82D9130B-8D7E-4EB7-9C8E-18C43FEF1A2C}" type="presOf" srcId="{1AB62418-1ED5-48B8-9EB9-5DE16B4A4844}" destId="{430B72E3-AECF-4249-BF0D-753233A76EDD}" srcOrd="1" destOrd="0" presId="urn:microsoft.com/office/officeart/2005/8/layout/list1"/>
    <dgm:cxn modelId="{9D639115-C984-4C82-B659-8B28B0E7550F}" type="presOf" srcId="{C95C8894-13DB-4336-B7E8-50BEAFDC98F7}" destId="{AF50B323-05BA-4595-B36C-3EACABA6C702}" srcOrd="0" destOrd="0" presId="urn:microsoft.com/office/officeart/2005/8/layout/list1"/>
    <dgm:cxn modelId="{CE0F111A-B878-4448-AB25-C18029E4036B}" srcId="{09A0BD5F-429B-4867-B191-EC60ABC61E76}" destId="{52B14F1C-20EE-4D61-8D50-0E0A356FA096}" srcOrd="2" destOrd="0" parTransId="{6F346D37-1FC3-48C2-B3EA-B06398954CE8}" sibTransId="{AD558660-671A-4465-9963-F3B251A3DCDA}"/>
    <dgm:cxn modelId="{75099C35-BB1C-421C-A139-A27796A2E416}" type="presOf" srcId="{598BF6B8-31CA-41FC-BCFC-45ED2CA225C1}" destId="{8916A786-272D-45C3-AAD0-D3FEB3C2DC19}" srcOrd="0" destOrd="0" presId="urn:microsoft.com/office/officeart/2005/8/layout/list1"/>
    <dgm:cxn modelId="{1888BC5B-8D8A-4FFF-BC97-10FFC2F2E50A}" srcId="{09A0BD5F-429B-4867-B191-EC60ABC61E76}" destId="{FEF0EB54-7DAB-46C5-936D-28B0B1F70931}" srcOrd="1" destOrd="0" parTransId="{9BA7B0FF-B2CB-485B-AD9D-2E2A582F957F}" sibTransId="{CE90E272-0616-4BC1-BF7E-6650A0454F51}"/>
    <dgm:cxn modelId="{49408A46-3431-4CEE-ADAC-23F628B5E300}" srcId="{09A0BD5F-429B-4867-B191-EC60ABC61E76}" destId="{C95C8894-13DB-4336-B7E8-50BEAFDC98F7}" srcOrd="5" destOrd="0" parTransId="{1DF057AC-DDF0-4BAA-868F-37E2E97461A7}" sibTransId="{40B11401-8D79-43E5-8949-C6D5E40776DC}"/>
    <dgm:cxn modelId="{09C57D50-69BC-48BE-9779-76AA6CC68022}" type="presOf" srcId="{33F907C9-B154-449E-9EA3-CE10FC758AF1}" destId="{F341652A-CB07-4AB3-8F98-EC4D2A0CF25F}" srcOrd="0" destOrd="0" presId="urn:microsoft.com/office/officeart/2005/8/layout/list1"/>
    <dgm:cxn modelId="{D0FAD054-F761-4732-B39A-C31F2FD1F4F4}" type="presOf" srcId="{52B14F1C-20EE-4D61-8D50-0E0A356FA096}" destId="{454D4E63-34D6-403B-A2B3-C929294E8E22}" srcOrd="1" destOrd="0" presId="urn:microsoft.com/office/officeart/2005/8/layout/list1"/>
    <dgm:cxn modelId="{40C4DA90-7B2E-4DED-BA2B-6D1102FCA9E3}" type="presOf" srcId="{598BF6B8-31CA-41FC-BCFC-45ED2CA225C1}" destId="{D16B99A1-DEAD-4BC0-9190-367257ED46F0}" srcOrd="1" destOrd="0" presId="urn:microsoft.com/office/officeart/2005/8/layout/list1"/>
    <dgm:cxn modelId="{1600C394-7E8F-47B8-BF89-1ADBD576EAA3}" type="presOf" srcId="{33F907C9-B154-449E-9EA3-CE10FC758AF1}" destId="{0AE5EE08-98C8-4B39-BDEC-C4DE451E39AE}" srcOrd="1" destOrd="0" presId="urn:microsoft.com/office/officeart/2005/8/layout/list1"/>
    <dgm:cxn modelId="{11B54BA3-D0C9-489D-9ED5-D197587BCD26}" type="presOf" srcId="{FEF0EB54-7DAB-46C5-936D-28B0B1F70931}" destId="{F6C89C08-C979-4666-A8FE-7C2A0CF33DA1}" srcOrd="1" destOrd="0" presId="urn:microsoft.com/office/officeart/2005/8/layout/list1"/>
    <dgm:cxn modelId="{CB06F5B3-9EDA-458C-83FC-13A21C39C932}" type="presOf" srcId="{FEF0EB54-7DAB-46C5-936D-28B0B1F70931}" destId="{37254736-18AB-4779-B8C0-112A207E98A3}" srcOrd="0" destOrd="0" presId="urn:microsoft.com/office/officeart/2005/8/layout/list1"/>
    <dgm:cxn modelId="{7B336FC7-0280-4C0D-80CB-F25B3DE28700}" type="presOf" srcId="{C95C8894-13DB-4336-B7E8-50BEAFDC98F7}" destId="{43CD24BE-A082-4542-A0D3-3C837603DACB}" srcOrd="1" destOrd="0" presId="urn:microsoft.com/office/officeart/2005/8/layout/list1"/>
    <dgm:cxn modelId="{125804CF-1F1D-4E8E-B04F-8DE4C30F40F6}" type="presOf" srcId="{09A0BD5F-429B-4867-B191-EC60ABC61E76}" destId="{BDFA0D8F-56B8-4A12-8125-287DDD4886B9}" srcOrd="0" destOrd="0" presId="urn:microsoft.com/office/officeart/2005/8/layout/list1"/>
    <dgm:cxn modelId="{D4295ADA-CC42-4987-8A1D-57C3EAF32E63}" type="presOf" srcId="{52B14F1C-20EE-4D61-8D50-0E0A356FA096}" destId="{F10E86A0-7210-42EE-86DF-8EDAED6B2509}" srcOrd="0" destOrd="0" presId="urn:microsoft.com/office/officeart/2005/8/layout/list1"/>
    <dgm:cxn modelId="{D2B532E0-567F-49D9-8F54-7B18746C815F}" srcId="{09A0BD5F-429B-4867-B191-EC60ABC61E76}" destId="{1AB62418-1ED5-48B8-9EB9-5DE16B4A4844}" srcOrd="4" destOrd="0" parTransId="{4AF182F3-5540-4308-B590-183E3EE1176D}" sibTransId="{01BFD459-569E-45E9-8F91-A5DC6946EFB2}"/>
    <dgm:cxn modelId="{93DF88F5-190C-4BB4-A07E-06949F5F836B}" srcId="{09A0BD5F-429B-4867-B191-EC60ABC61E76}" destId="{33F907C9-B154-449E-9EA3-CE10FC758AF1}" srcOrd="3" destOrd="0" parTransId="{98BAF358-20ED-429A-AD7F-C24B1A9D6547}" sibTransId="{57FE3503-AF70-404A-A85C-B50C440EA8D7}"/>
    <dgm:cxn modelId="{8400E8F5-0847-4ED4-9CA4-D5B7F59AA475}" srcId="{09A0BD5F-429B-4867-B191-EC60ABC61E76}" destId="{598BF6B8-31CA-41FC-BCFC-45ED2CA225C1}" srcOrd="0" destOrd="0" parTransId="{13C868DB-BEBD-46A8-8B47-AC0EABBCAAF7}" sibTransId="{2782E933-D570-4430-9035-B8D5C6253B73}"/>
    <dgm:cxn modelId="{2BE75FFA-BCA5-44F2-B0E6-CF95BA7BFF1F}" type="presOf" srcId="{1AB62418-1ED5-48B8-9EB9-5DE16B4A4844}" destId="{6AE21E35-6D55-4F87-9364-3BF43C7D2B21}" srcOrd="0" destOrd="0" presId="urn:microsoft.com/office/officeart/2005/8/layout/list1"/>
    <dgm:cxn modelId="{6594DC56-CE15-4C34-87BD-72B97E153245}" type="presParOf" srcId="{BDFA0D8F-56B8-4A12-8125-287DDD4886B9}" destId="{72EFA147-255E-4DAF-869C-A8AA2CBD1130}" srcOrd="0" destOrd="0" presId="urn:microsoft.com/office/officeart/2005/8/layout/list1"/>
    <dgm:cxn modelId="{BF718D37-A3E9-41DA-BAC9-7C117F98B931}" type="presParOf" srcId="{72EFA147-255E-4DAF-869C-A8AA2CBD1130}" destId="{8916A786-272D-45C3-AAD0-D3FEB3C2DC19}" srcOrd="0" destOrd="0" presId="urn:microsoft.com/office/officeart/2005/8/layout/list1"/>
    <dgm:cxn modelId="{DD43ED92-924F-43BA-87F5-C2E335C6B193}" type="presParOf" srcId="{72EFA147-255E-4DAF-869C-A8AA2CBD1130}" destId="{D16B99A1-DEAD-4BC0-9190-367257ED46F0}" srcOrd="1" destOrd="0" presId="urn:microsoft.com/office/officeart/2005/8/layout/list1"/>
    <dgm:cxn modelId="{34DD116A-73F2-430B-A9E6-406BD869438C}" type="presParOf" srcId="{BDFA0D8F-56B8-4A12-8125-287DDD4886B9}" destId="{B91D2E23-EF3F-4489-B445-25002FE087BA}" srcOrd="1" destOrd="0" presId="urn:microsoft.com/office/officeart/2005/8/layout/list1"/>
    <dgm:cxn modelId="{C1181C5A-C732-41C3-8CA8-4C49F31054D1}" type="presParOf" srcId="{BDFA0D8F-56B8-4A12-8125-287DDD4886B9}" destId="{9463072F-C2D9-455F-B604-D84BE146827E}" srcOrd="2" destOrd="0" presId="urn:microsoft.com/office/officeart/2005/8/layout/list1"/>
    <dgm:cxn modelId="{268EACD6-8189-4468-9C93-1D5873FDF97A}" type="presParOf" srcId="{BDFA0D8F-56B8-4A12-8125-287DDD4886B9}" destId="{2C8CD628-F2A0-4190-B1D5-7472D301CB6A}" srcOrd="3" destOrd="0" presId="urn:microsoft.com/office/officeart/2005/8/layout/list1"/>
    <dgm:cxn modelId="{98F8310D-50BE-49A5-87EE-B46CDE7C20B0}" type="presParOf" srcId="{BDFA0D8F-56B8-4A12-8125-287DDD4886B9}" destId="{1CCCE9ED-2D5D-4CFC-A852-A4037A91FA49}" srcOrd="4" destOrd="0" presId="urn:microsoft.com/office/officeart/2005/8/layout/list1"/>
    <dgm:cxn modelId="{AD84084D-5193-4225-8123-9725747C4051}" type="presParOf" srcId="{1CCCE9ED-2D5D-4CFC-A852-A4037A91FA49}" destId="{37254736-18AB-4779-B8C0-112A207E98A3}" srcOrd="0" destOrd="0" presId="urn:microsoft.com/office/officeart/2005/8/layout/list1"/>
    <dgm:cxn modelId="{FBF49277-27F5-419A-9168-068593767C8B}" type="presParOf" srcId="{1CCCE9ED-2D5D-4CFC-A852-A4037A91FA49}" destId="{F6C89C08-C979-4666-A8FE-7C2A0CF33DA1}" srcOrd="1" destOrd="0" presId="urn:microsoft.com/office/officeart/2005/8/layout/list1"/>
    <dgm:cxn modelId="{EFC47755-1138-453B-9F39-7F33CF8A6A52}" type="presParOf" srcId="{BDFA0D8F-56B8-4A12-8125-287DDD4886B9}" destId="{47986865-E567-4689-81A0-A1E998E42F1C}" srcOrd="5" destOrd="0" presId="urn:microsoft.com/office/officeart/2005/8/layout/list1"/>
    <dgm:cxn modelId="{BEEE5471-AC80-4A82-B794-AB6E6B463016}" type="presParOf" srcId="{BDFA0D8F-56B8-4A12-8125-287DDD4886B9}" destId="{C7671AB8-8974-4708-AB69-A50F0DAB9AB0}" srcOrd="6" destOrd="0" presId="urn:microsoft.com/office/officeart/2005/8/layout/list1"/>
    <dgm:cxn modelId="{C01E1544-A589-4166-AF70-C9A5492444FE}" type="presParOf" srcId="{BDFA0D8F-56B8-4A12-8125-287DDD4886B9}" destId="{82278A03-65EA-45F6-B3C6-93108066FE92}" srcOrd="7" destOrd="0" presId="urn:microsoft.com/office/officeart/2005/8/layout/list1"/>
    <dgm:cxn modelId="{BDF7884E-1ED6-4A2E-9016-C8CC23A2B724}" type="presParOf" srcId="{BDFA0D8F-56B8-4A12-8125-287DDD4886B9}" destId="{37D2C461-81FE-4242-ACB9-3D6651DA6526}" srcOrd="8" destOrd="0" presId="urn:microsoft.com/office/officeart/2005/8/layout/list1"/>
    <dgm:cxn modelId="{253FC464-2DBD-4C30-904C-4D779BEA449A}" type="presParOf" srcId="{37D2C461-81FE-4242-ACB9-3D6651DA6526}" destId="{F10E86A0-7210-42EE-86DF-8EDAED6B2509}" srcOrd="0" destOrd="0" presId="urn:microsoft.com/office/officeart/2005/8/layout/list1"/>
    <dgm:cxn modelId="{3C1D5A21-3E0D-44CC-99EA-50B3E26D6656}" type="presParOf" srcId="{37D2C461-81FE-4242-ACB9-3D6651DA6526}" destId="{454D4E63-34D6-403B-A2B3-C929294E8E22}" srcOrd="1" destOrd="0" presId="urn:microsoft.com/office/officeart/2005/8/layout/list1"/>
    <dgm:cxn modelId="{716BFC7F-D9B4-4C8E-BA39-6A68D1B1192C}" type="presParOf" srcId="{BDFA0D8F-56B8-4A12-8125-287DDD4886B9}" destId="{D9D8B390-F6EC-426B-AC9A-EE6303429DA1}" srcOrd="9" destOrd="0" presId="urn:microsoft.com/office/officeart/2005/8/layout/list1"/>
    <dgm:cxn modelId="{419570EB-3E09-422B-A840-AAF716371893}" type="presParOf" srcId="{BDFA0D8F-56B8-4A12-8125-287DDD4886B9}" destId="{924E7441-C610-4917-8FD6-FC8A9CB5728C}" srcOrd="10" destOrd="0" presId="urn:microsoft.com/office/officeart/2005/8/layout/list1"/>
    <dgm:cxn modelId="{0A1AB338-965F-4E45-81C7-BB424D05BFAF}" type="presParOf" srcId="{BDFA0D8F-56B8-4A12-8125-287DDD4886B9}" destId="{C026C113-2E4C-4B4D-AB13-29FC74399DCC}" srcOrd="11" destOrd="0" presId="urn:microsoft.com/office/officeart/2005/8/layout/list1"/>
    <dgm:cxn modelId="{4E95BD71-4713-4548-B14F-86717138F554}" type="presParOf" srcId="{BDFA0D8F-56B8-4A12-8125-287DDD4886B9}" destId="{26ED9240-F94F-47D3-98C2-9A8C417C3370}" srcOrd="12" destOrd="0" presId="urn:microsoft.com/office/officeart/2005/8/layout/list1"/>
    <dgm:cxn modelId="{B97E9F73-F8B8-4283-8397-FC5B5706B8BC}" type="presParOf" srcId="{26ED9240-F94F-47D3-98C2-9A8C417C3370}" destId="{F341652A-CB07-4AB3-8F98-EC4D2A0CF25F}" srcOrd="0" destOrd="0" presId="urn:microsoft.com/office/officeart/2005/8/layout/list1"/>
    <dgm:cxn modelId="{B0A46B32-F8F5-464C-9A24-6953B595CCA5}" type="presParOf" srcId="{26ED9240-F94F-47D3-98C2-9A8C417C3370}" destId="{0AE5EE08-98C8-4B39-BDEC-C4DE451E39AE}" srcOrd="1" destOrd="0" presId="urn:microsoft.com/office/officeart/2005/8/layout/list1"/>
    <dgm:cxn modelId="{2BE14E51-93B3-4233-AEDF-1D57ADFF58FF}" type="presParOf" srcId="{BDFA0D8F-56B8-4A12-8125-287DDD4886B9}" destId="{D2CB666D-B704-487A-9A3E-50B6154BE517}" srcOrd="13" destOrd="0" presId="urn:microsoft.com/office/officeart/2005/8/layout/list1"/>
    <dgm:cxn modelId="{D18DC312-960C-4148-8A7E-069D716D0623}" type="presParOf" srcId="{BDFA0D8F-56B8-4A12-8125-287DDD4886B9}" destId="{A9020F73-E8E6-40C8-A1CF-DF347A309E51}" srcOrd="14" destOrd="0" presId="urn:microsoft.com/office/officeart/2005/8/layout/list1"/>
    <dgm:cxn modelId="{564936A6-D438-4B4B-B49E-797C9DB46DBC}" type="presParOf" srcId="{BDFA0D8F-56B8-4A12-8125-287DDD4886B9}" destId="{2D252EC7-249F-40C5-8F71-411FD0E296F4}" srcOrd="15" destOrd="0" presId="urn:microsoft.com/office/officeart/2005/8/layout/list1"/>
    <dgm:cxn modelId="{A5C2D18E-28CC-4D42-9811-893A34F65781}" type="presParOf" srcId="{BDFA0D8F-56B8-4A12-8125-287DDD4886B9}" destId="{38709F9F-E568-4000-8287-41FF19B2F55E}" srcOrd="16" destOrd="0" presId="urn:microsoft.com/office/officeart/2005/8/layout/list1"/>
    <dgm:cxn modelId="{B2A76868-2406-4629-972E-D3C2B1B8920B}" type="presParOf" srcId="{38709F9F-E568-4000-8287-41FF19B2F55E}" destId="{6AE21E35-6D55-4F87-9364-3BF43C7D2B21}" srcOrd="0" destOrd="0" presId="urn:microsoft.com/office/officeart/2005/8/layout/list1"/>
    <dgm:cxn modelId="{417DBD41-AF14-4C8F-93A4-989142055824}" type="presParOf" srcId="{38709F9F-E568-4000-8287-41FF19B2F55E}" destId="{430B72E3-AECF-4249-BF0D-753233A76EDD}" srcOrd="1" destOrd="0" presId="urn:microsoft.com/office/officeart/2005/8/layout/list1"/>
    <dgm:cxn modelId="{079BDBA3-3186-4F7D-8E38-FB39C6C1A9C0}" type="presParOf" srcId="{BDFA0D8F-56B8-4A12-8125-287DDD4886B9}" destId="{93FC574F-C313-4E2F-A8C1-EC18A776EFFA}" srcOrd="17" destOrd="0" presId="urn:microsoft.com/office/officeart/2005/8/layout/list1"/>
    <dgm:cxn modelId="{F6DD790E-D8D4-4ECD-864E-22DF0938BD07}" type="presParOf" srcId="{BDFA0D8F-56B8-4A12-8125-287DDD4886B9}" destId="{25CB3C16-4226-4378-8C29-9B6253FFA2FB}" srcOrd="18" destOrd="0" presId="urn:microsoft.com/office/officeart/2005/8/layout/list1"/>
    <dgm:cxn modelId="{1FA750DF-C0AC-4EFA-A1F5-F849C2F10D68}" type="presParOf" srcId="{BDFA0D8F-56B8-4A12-8125-287DDD4886B9}" destId="{26130CD6-E909-4221-A6E4-9782B2BE6539}" srcOrd="19" destOrd="0" presId="urn:microsoft.com/office/officeart/2005/8/layout/list1"/>
    <dgm:cxn modelId="{C4E33B6E-4573-4EFA-AE4C-174A5962028D}" type="presParOf" srcId="{BDFA0D8F-56B8-4A12-8125-287DDD4886B9}" destId="{E4FD9E22-B8D2-4480-AB99-1ECE6CA0978E}" srcOrd="20" destOrd="0" presId="urn:microsoft.com/office/officeart/2005/8/layout/list1"/>
    <dgm:cxn modelId="{5B9AB805-BE33-439E-8D3A-ADD46FAAC9BE}" type="presParOf" srcId="{E4FD9E22-B8D2-4480-AB99-1ECE6CA0978E}" destId="{AF50B323-05BA-4595-B36C-3EACABA6C702}" srcOrd="0" destOrd="0" presId="urn:microsoft.com/office/officeart/2005/8/layout/list1"/>
    <dgm:cxn modelId="{30CAD390-8E7E-4775-BD8E-CD45F16ABF8D}" type="presParOf" srcId="{E4FD9E22-B8D2-4480-AB99-1ECE6CA0978E}" destId="{43CD24BE-A082-4542-A0D3-3C837603DACB}" srcOrd="1" destOrd="0" presId="urn:microsoft.com/office/officeart/2005/8/layout/list1"/>
    <dgm:cxn modelId="{F50470F9-264B-4660-BB29-86722B42ABB4}" type="presParOf" srcId="{BDFA0D8F-56B8-4A12-8125-287DDD4886B9}" destId="{B3E36C84-2A57-4EF0-AD55-91AEB32D982E}" srcOrd="21" destOrd="0" presId="urn:microsoft.com/office/officeart/2005/8/layout/list1"/>
    <dgm:cxn modelId="{0D319113-6588-40A3-A483-6D0F0FCA25D2}" type="presParOf" srcId="{BDFA0D8F-56B8-4A12-8125-287DDD4886B9}" destId="{3D048114-F0A0-4AE2-B35E-8DFF23B1B7D3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63072F-C2D9-455F-B604-D84BE146827E}">
      <dsp:nvSpPr>
        <dsp:cNvPr id="0" name=""/>
        <dsp:cNvSpPr/>
      </dsp:nvSpPr>
      <dsp:spPr>
        <a:xfrm>
          <a:off x="0" y="327900"/>
          <a:ext cx="1010766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6B99A1-DEAD-4BC0-9190-367257ED46F0}">
      <dsp:nvSpPr>
        <dsp:cNvPr id="0" name=""/>
        <dsp:cNvSpPr/>
      </dsp:nvSpPr>
      <dsp:spPr>
        <a:xfrm>
          <a:off x="505383" y="91740"/>
          <a:ext cx="7075362" cy="472320"/>
        </a:xfrm>
        <a:prstGeom prst="roundRect">
          <a:avLst/>
        </a:prstGeom>
        <a:solidFill>
          <a:schemeClr val="accent1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432" tIns="0" rIns="267432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Gender expression</a:t>
          </a:r>
        </a:p>
      </dsp:txBody>
      <dsp:txXfrm>
        <a:off x="528440" y="114797"/>
        <a:ext cx="7029248" cy="426206"/>
      </dsp:txXfrm>
    </dsp:sp>
    <dsp:sp modelId="{C7671AB8-8974-4708-AB69-A50F0DAB9AB0}">
      <dsp:nvSpPr>
        <dsp:cNvPr id="0" name=""/>
        <dsp:cNvSpPr/>
      </dsp:nvSpPr>
      <dsp:spPr>
        <a:xfrm>
          <a:off x="0" y="1053660"/>
          <a:ext cx="1010766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C89C08-C979-4666-A8FE-7C2A0CF33DA1}">
      <dsp:nvSpPr>
        <dsp:cNvPr id="0" name=""/>
        <dsp:cNvSpPr/>
      </dsp:nvSpPr>
      <dsp:spPr>
        <a:xfrm>
          <a:off x="505383" y="817500"/>
          <a:ext cx="7075362" cy="472320"/>
        </a:xfrm>
        <a:prstGeom prst="roundRect">
          <a:avLst/>
        </a:prstGeom>
        <a:solidFill>
          <a:srgbClr val="FFC000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432" tIns="0" rIns="267432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Personal preference</a:t>
          </a:r>
          <a:endParaRPr lang="en-US" sz="1600" kern="1200" dirty="0"/>
        </a:p>
      </dsp:txBody>
      <dsp:txXfrm>
        <a:off x="528440" y="840557"/>
        <a:ext cx="7029248" cy="426206"/>
      </dsp:txXfrm>
    </dsp:sp>
    <dsp:sp modelId="{924E7441-C610-4917-8FD6-FC8A9CB5728C}">
      <dsp:nvSpPr>
        <dsp:cNvPr id="0" name=""/>
        <dsp:cNvSpPr/>
      </dsp:nvSpPr>
      <dsp:spPr>
        <a:xfrm>
          <a:off x="0" y="1779420"/>
          <a:ext cx="1010766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4D4E63-34D6-403B-A2B3-C929294E8E22}">
      <dsp:nvSpPr>
        <dsp:cNvPr id="0" name=""/>
        <dsp:cNvSpPr/>
      </dsp:nvSpPr>
      <dsp:spPr>
        <a:xfrm>
          <a:off x="505383" y="1543260"/>
          <a:ext cx="7075362" cy="472320"/>
        </a:xfrm>
        <a:prstGeom prst="roundRect">
          <a:avLst/>
        </a:prstGeom>
        <a:solidFill>
          <a:schemeClr val="accent3">
            <a:lumMod val="60000"/>
            <a:lumOff val="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432" tIns="0" rIns="267432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Body image</a:t>
          </a:r>
        </a:p>
      </dsp:txBody>
      <dsp:txXfrm>
        <a:off x="528440" y="1566317"/>
        <a:ext cx="7029248" cy="426206"/>
      </dsp:txXfrm>
    </dsp:sp>
    <dsp:sp modelId="{A9020F73-E8E6-40C8-A1CF-DF347A309E51}">
      <dsp:nvSpPr>
        <dsp:cNvPr id="0" name=""/>
        <dsp:cNvSpPr/>
      </dsp:nvSpPr>
      <dsp:spPr>
        <a:xfrm>
          <a:off x="0" y="2505180"/>
          <a:ext cx="1010766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AE5EE08-98C8-4B39-BDEC-C4DE451E39AE}">
      <dsp:nvSpPr>
        <dsp:cNvPr id="0" name=""/>
        <dsp:cNvSpPr/>
      </dsp:nvSpPr>
      <dsp:spPr>
        <a:xfrm>
          <a:off x="530424" y="2318930"/>
          <a:ext cx="7075362" cy="472320"/>
        </a:xfrm>
        <a:prstGeom prst="roundRect">
          <a:avLst/>
        </a:prstGeom>
        <a:solidFill>
          <a:schemeClr val="accent5">
            <a:lumMod val="40000"/>
            <a:lumOff val="6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432" tIns="0" rIns="267432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Gender identity</a:t>
          </a:r>
        </a:p>
      </dsp:txBody>
      <dsp:txXfrm>
        <a:off x="553481" y="2341987"/>
        <a:ext cx="7029248" cy="426206"/>
      </dsp:txXfrm>
    </dsp:sp>
    <dsp:sp modelId="{25CB3C16-4226-4378-8C29-9B6253FFA2FB}">
      <dsp:nvSpPr>
        <dsp:cNvPr id="0" name=""/>
        <dsp:cNvSpPr/>
      </dsp:nvSpPr>
      <dsp:spPr>
        <a:xfrm>
          <a:off x="0" y="3305888"/>
          <a:ext cx="1010766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0B72E3-AECF-4249-BF0D-753233A76EDD}">
      <dsp:nvSpPr>
        <dsp:cNvPr id="0" name=""/>
        <dsp:cNvSpPr/>
      </dsp:nvSpPr>
      <dsp:spPr>
        <a:xfrm>
          <a:off x="590767" y="2975179"/>
          <a:ext cx="6971354" cy="547267"/>
        </a:xfrm>
        <a:prstGeom prst="roundRect">
          <a:avLst/>
        </a:prstGeom>
        <a:solidFill>
          <a:schemeClr val="accent4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432" tIns="0" rIns="267432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ndrogyny</a:t>
          </a:r>
        </a:p>
      </dsp:txBody>
      <dsp:txXfrm>
        <a:off x="617482" y="3001894"/>
        <a:ext cx="6917924" cy="493837"/>
      </dsp:txXfrm>
    </dsp:sp>
    <dsp:sp modelId="{3D048114-F0A0-4AE2-B35E-8DFF23B1B7D3}">
      <dsp:nvSpPr>
        <dsp:cNvPr id="0" name=""/>
        <dsp:cNvSpPr/>
      </dsp:nvSpPr>
      <dsp:spPr>
        <a:xfrm>
          <a:off x="0" y="4031648"/>
          <a:ext cx="1010766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3CD24BE-A082-4542-A0D3-3C837603DACB}">
      <dsp:nvSpPr>
        <dsp:cNvPr id="0" name=""/>
        <dsp:cNvSpPr/>
      </dsp:nvSpPr>
      <dsp:spPr>
        <a:xfrm>
          <a:off x="505383" y="3795488"/>
          <a:ext cx="7075362" cy="472320"/>
        </a:xfrm>
        <a:prstGeom prst="roundRect">
          <a:avLst/>
        </a:prstGeom>
        <a:solidFill>
          <a:schemeClr val="tx2">
            <a:lumMod val="25000"/>
            <a:lumOff val="75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7432" tIns="0" rIns="267432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elf-image</a:t>
          </a:r>
        </a:p>
      </dsp:txBody>
      <dsp:txXfrm>
        <a:off x="528440" y="3818545"/>
        <a:ext cx="7029248" cy="426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0AF49B-9FEE-4F32-85B6-E5B818296E8A}" type="datetimeFigureOut">
              <a:rPr lang="en-ZA" smtClean="0"/>
              <a:t>2025/04/30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232361-E4C5-43F1-853E-638420AC96A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739546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None/>
            </a:pPr>
            <a:r>
              <a:rPr lang="en-US" dirty="0"/>
              <a:t>Freud's theory divides the mind into three parts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Id</a:t>
            </a:r>
            <a:r>
              <a:rPr lang="en-US" dirty="0"/>
              <a:t>: the instinctual, impulsive part driven by desires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Ego</a:t>
            </a:r>
            <a:r>
              <a:rPr lang="en-US" dirty="0"/>
              <a:t>: the realistic part that mediates between the id and reality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/>
              <a:t>Superego</a:t>
            </a:r>
            <a:r>
              <a:rPr lang="en-US" dirty="0"/>
              <a:t>: the moral conscience that upholds societal rules.</a:t>
            </a:r>
          </a:p>
          <a:p>
            <a:r>
              <a:rPr lang="en-US" dirty="0"/>
              <a:t>Together, they shape human behavior and internal conflict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232361-E4C5-43F1-853E-638420AC96A6}" type="slidenum">
              <a:rPr lang="en-ZA" smtClean="0"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788947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Androgyny</a:t>
            </a:r>
            <a:r>
              <a:rPr lang="en-US" dirty="0"/>
              <a:t> means having a blend of both masculine and feminine characteristics, or not being distinctly male or female in appearance, behavior, or identity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232361-E4C5-43F1-853E-638420AC96A6}" type="slidenum">
              <a:rPr lang="en-ZA" smtClean="0"/>
              <a:t>1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34443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F4B1580F-DD12-C02C-3553-18A183C748CF}"/>
              </a:ext>
            </a:extLst>
          </p:cNvPr>
          <p:cNvSpPr/>
          <p:nvPr userDrawn="1"/>
        </p:nvSpPr>
        <p:spPr>
          <a:xfrm rot="10800000">
            <a:off x="7828206" y="0"/>
            <a:ext cx="4363794" cy="3518451"/>
          </a:xfrm>
          <a:prstGeom prst="rtTriangle">
            <a:avLst/>
          </a:prstGeom>
          <a:solidFill>
            <a:srgbClr val="F5D93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 descr="A black and red background with blue text&#10;&#10;Description automatically generated">
            <a:extLst>
              <a:ext uri="{FF2B5EF4-FFF2-40B4-BE49-F238E27FC236}">
                <a16:creationId xmlns:a16="http://schemas.microsoft.com/office/drawing/2014/main" id="{0B155D12-5B63-3E19-B570-CC688DC397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96413"/>
            <a:ext cx="2083904" cy="761587"/>
          </a:xfrm>
          <a:prstGeom prst="rect">
            <a:avLst/>
          </a:prstGeom>
        </p:spPr>
      </p:pic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D0B5DD14-6517-33B3-AD65-8BB8FCEB54F0}"/>
              </a:ext>
            </a:extLst>
          </p:cNvPr>
          <p:cNvSpPr/>
          <p:nvPr userDrawn="1"/>
        </p:nvSpPr>
        <p:spPr>
          <a:xfrm rot="10800000">
            <a:off x="8395252" y="0"/>
            <a:ext cx="3796748" cy="3061252"/>
          </a:xfrm>
          <a:prstGeom prst="rtTriangle">
            <a:avLst/>
          </a:prstGeom>
          <a:solidFill>
            <a:srgbClr val="F5D93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50792D2-C670-0D07-0DA3-80B82CF398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9148" y="184702"/>
            <a:ext cx="2425367" cy="2409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5224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black and red background with blue text&#10;&#10;Description automatically generated">
            <a:extLst>
              <a:ext uri="{FF2B5EF4-FFF2-40B4-BE49-F238E27FC236}">
                <a16:creationId xmlns:a16="http://schemas.microsoft.com/office/drawing/2014/main" id="{91B3649C-F4B7-C618-7823-E36524F231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96413"/>
            <a:ext cx="2083904" cy="761587"/>
          </a:xfrm>
          <a:prstGeom prst="rect">
            <a:avLst/>
          </a:prstGeom>
        </p:spPr>
      </p:pic>
      <p:pic>
        <p:nvPicPr>
          <p:cNvPr id="8" name="Picture 7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D4EDAFAA-2488-BE1E-20FF-B0255A6BEC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89" y="5814391"/>
            <a:ext cx="1699710" cy="7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373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963CAD2-1C78-7176-3662-5D9160AE9B9E}"/>
              </a:ext>
            </a:extLst>
          </p:cNvPr>
          <p:cNvSpPr/>
          <p:nvPr userDrawn="1"/>
        </p:nvSpPr>
        <p:spPr>
          <a:xfrm>
            <a:off x="7851913" y="0"/>
            <a:ext cx="4340087" cy="6858000"/>
          </a:xfrm>
          <a:prstGeom prst="rect">
            <a:avLst/>
          </a:prstGeom>
          <a:solidFill>
            <a:srgbClr val="7BA2B9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black and red background with blue text&#10;&#10;Description automatically generated">
            <a:extLst>
              <a:ext uri="{FF2B5EF4-FFF2-40B4-BE49-F238E27FC236}">
                <a16:creationId xmlns:a16="http://schemas.microsoft.com/office/drawing/2014/main" id="{91B3649C-F4B7-C618-7823-E36524F231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96413"/>
            <a:ext cx="2083904" cy="761587"/>
          </a:xfrm>
          <a:prstGeom prst="rect">
            <a:avLst/>
          </a:prstGeom>
        </p:spPr>
      </p:pic>
      <p:pic>
        <p:nvPicPr>
          <p:cNvPr id="8" name="Picture 7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D4EDAFAA-2488-BE1E-20FF-B0255A6BEC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89" y="5814391"/>
            <a:ext cx="1699710" cy="7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371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963CAD2-1C78-7176-3662-5D9160AE9B9E}"/>
              </a:ext>
            </a:extLst>
          </p:cNvPr>
          <p:cNvSpPr/>
          <p:nvPr userDrawn="1"/>
        </p:nvSpPr>
        <p:spPr>
          <a:xfrm>
            <a:off x="7851913" y="0"/>
            <a:ext cx="4340087" cy="6858000"/>
          </a:xfrm>
          <a:prstGeom prst="rect">
            <a:avLst/>
          </a:prstGeom>
          <a:solidFill>
            <a:srgbClr val="15315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ack and red sign with white text&#10;&#10;Description automatically generated">
            <a:extLst>
              <a:ext uri="{FF2B5EF4-FFF2-40B4-BE49-F238E27FC236}">
                <a16:creationId xmlns:a16="http://schemas.microsoft.com/office/drawing/2014/main" id="{884E1BBE-EE79-FD9D-353A-89BEE9C2BE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85378"/>
            <a:ext cx="2083904" cy="772622"/>
          </a:xfrm>
          <a:prstGeom prst="rect">
            <a:avLst/>
          </a:prstGeom>
        </p:spPr>
      </p:pic>
      <p:pic>
        <p:nvPicPr>
          <p:cNvPr id="8" name="Picture 7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D4EDAFAA-2488-BE1E-20FF-B0255A6BEC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89" y="5814391"/>
            <a:ext cx="1699710" cy="7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63648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963CAD2-1C78-7176-3662-5D9160AE9B9E}"/>
              </a:ext>
            </a:extLst>
          </p:cNvPr>
          <p:cNvSpPr/>
          <p:nvPr userDrawn="1"/>
        </p:nvSpPr>
        <p:spPr>
          <a:xfrm>
            <a:off x="7851913" y="0"/>
            <a:ext cx="4340087" cy="6858000"/>
          </a:xfrm>
          <a:prstGeom prst="rect">
            <a:avLst/>
          </a:prstGeom>
          <a:solidFill>
            <a:srgbClr val="F5D93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black and red background with blue text&#10;&#10;Description automatically generated">
            <a:extLst>
              <a:ext uri="{FF2B5EF4-FFF2-40B4-BE49-F238E27FC236}">
                <a16:creationId xmlns:a16="http://schemas.microsoft.com/office/drawing/2014/main" id="{91B3649C-F4B7-C618-7823-E36524F231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08096" y="6096413"/>
            <a:ext cx="2083904" cy="761587"/>
          </a:xfrm>
          <a:prstGeom prst="rect">
            <a:avLst/>
          </a:prstGeom>
        </p:spPr>
      </p:pic>
      <p:pic>
        <p:nvPicPr>
          <p:cNvPr id="8" name="Picture 7" descr="A logo with blue and red letters&#10;&#10;Description automatically generated">
            <a:extLst>
              <a:ext uri="{FF2B5EF4-FFF2-40B4-BE49-F238E27FC236}">
                <a16:creationId xmlns:a16="http://schemas.microsoft.com/office/drawing/2014/main" id="{D4EDAFAA-2488-BE1E-20FF-B0255A6BEC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89" y="5814391"/>
            <a:ext cx="1699710" cy="793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0767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163CE-80F2-4B51-816C-7DB7FB9EE067}" type="datetimeFigureOut">
              <a:rPr lang="en-ZA" smtClean="0"/>
              <a:t>2025/04/30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79EA3B-0F13-4B59-B6E5-8BF8E0B0648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3699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8C0AFA-F9BC-4D1D-8764-094D611305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2" y="2123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8C0AFA-F9BC-4D1D-8764-094D611305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2" y="2123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D86C90-4689-46F2-BC65-69D3F62C1AC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6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8"/>
            <a:ext cx="123156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r" defTabSz="15917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7586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0A1FF9-3132-4F62-A932-5B7DCFFECE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8" imgH="278" progId="TCLayout.ActiveDocument.1">
                  <p:embed/>
                </p:oleObj>
              </mc:Choice>
              <mc:Fallback>
                <p:oleObj name="think-cell Slide" r:id="rId3" imgW="278" imgH="27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0A1FF9-3132-4F62-A932-5B7DCFFEC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0B5FEAE-53A3-4158-8CA1-8BBF35CD8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11965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783FC36-08F4-FABA-8AFD-CE18D25ACD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A455B4-A79D-5B7B-300D-5EF3DAB6BF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B5EC7F-F6D0-05D0-C749-0C3AB9F9D6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7D0FF47-FC4A-9C45-8EB7-F294A875D913}" type="datetimeFigureOut">
              <a:rPr lang="en-US" smtClean="0"/>
              <a:t>4/3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424616-2FC2-8842-399D-FA9FC3F45E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872017-3E85-55F2-3267-70F9414A71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6D456A7-ACB9-D143-9F25-34E87CB51D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879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fif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fif"/><Relationship Id="rId2" Type="http://schemas.openxmlformats.org/officeDocument/2006/relationships/image" Target="../media/image18.jfi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1.jfif"/><Relationship Id="rId4" Type="http://schemas.openxmlformats.org/officeDocument/2006/relationships/image" Target="../media/image20.jfi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fi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fif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fif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fif"/><Relationship Id="rId2" Type="http://schemas.openxmlformats.org/officeDocument/2006/relationships/image" Target="../media/image13.jfif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f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fif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1F3D8FCB-7901-B33D-87B6-882E254FC40D}"/>
              </a:ext>
            </a:extLst>
          </p:cNvPr>
          <p:cNvSpPr txBox="1"/>
          <p:nvPr/>
        </p:nvSpPr>
        <p:spPr>
          <a:xfrm>
            <a:off x="714704" y="4231668"/>
            <a:ext cx="56755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>
                <a:solidFill>
                  <a:srgbClr val="153152"/>
                </a:solidFill>
                <a:latin typeface="Colaborate-Medium" panose="02000603070000020004" pitchFamily="2" charset="0"/>
              </a:rPr>
              <a:t>SLO 1.3D1 and 2.5 H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7CFDBA-1E2A-BD0B-0432-BBB5C64A622F}"/>
              </a:ext>
            </a:extLst>
          </p:cNvPr>
          <p:cNvSpPr txBox="1"/>
          <p:nvPr/>
        </p:nvSpPr>
        <p:spPr>
          <a:xfrm>
            <a:off x="714704" y="4751743"/>
            <a:ext cx="56755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153152"/>
                </a:solidFill>
                <a:latin typeface="Colaborate-Thin" panose="02000506050000020004" pitchFamily="2" charset="0"/>
              </a:rPr>
              <a:t>Sexuality</a:t>
            </a:r>
          </a:p>
        </p:txBody>
      </p:sp>
      <p:pic>
        <p:nvPicPr>
          <p:cNvPr id="7" name="Picture 6" descr="A group of medical personnel in uniform&#10;&#10;Description automatically generated">
            <a:extLst>
              <a:ext uri="{FF2B5EF4-FFF2-40B4-BE49-F238E27FC236}">
                <a16:creationId xmlns:a16="http://schemas.microsoft.com/office/drawing/2014/main" id="{D442BB5A-639F-EAB1-E986-43CF9CC1D6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60189" y="371271"/>
            <a:ext cx="2430102" cy="2290780"/>
          </a:xfrm>
          <a:prstGeom prst="roundRect">
            <a:avLst>
              <a:gd name="adj" fmla="val 6573"/>
            </a:avLst>
          </a:prstGeom>
        </p:spPr>
      </p:pic>
      <p:pic>
        <p:nvPicPr>
          <p:cNvPr id="12" name="Picture 11" descr="A person standing next to a person looking at a computer&#10;&#10;Description automatically generated">
            <a:extLst>
              <a:ext uri="{FF2B5EF4-FFF2-40B4-BE49-F238E27FC236}">
                <a16:creationId xmlns:a16="http://schemas.microsoft.com/office/drawing/2014/main" id="{918F8F9D-4378-F852-340C-630F46D78A2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23034" y="371271"/>
            <a:ext cx="2430102" cy="2374900"/>
          </a:xfrm>
          <a:prstGeom prst="roundRect">
            <a:avLst>
              <a:gd name="adj" fmla="val 5160"/>
            </a:avLst>
          </a:prstGeom>
        </p:spPr>
      </p:pic>
      <p:pic>
        <p:nvPicPr>
          <p:cNvPr id="15" name="Picture 14" descr="A person sitting on the ground looking at a piece of paper&#10;&#10;Description automatically generated">
            <a:extLst>
              <a:ext uri="{FF2B5EF4-FFF2-40B4-BE49-F238E27FC236}">
                <a16:creationId xmlns:a16="http://schemas.microsoft.com/office/drawing/2014/main" id="{79E8E2FB-BF29-3DA9-E5A5-5E26EB1561A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285879" y="371271"/>
            <a:ext cx="2422106" cy="2374900"/>
          </a:xfrm>
          <a:prstGeom prst="roundRect">
            <a:avLst>
              <a:gd name="adj" fmla="val 5160"/>
            </a:avLst>
          </a:prstGeom>
        </p:spPr>
      </p:pic>
    </p:spTree>
    <p:extLst>
      <p:ext uri="{BB962C8B-B14F-4D97-AF65-F5344CB8AC3E}">
        <p14:creationId xmlns:p14="http://schemas.microsoft.com/office/powerpoint/2010/main" val="5233954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65666" y="365125"/>
            <a:ext cx="10049933" cy="1325563"/>
          </a:xfrm>
        </p:spPr>
        <p:txBody>
          <a:bodyPr>
            <a:normAutofit/>
          </a:bodyPr>
          <a:lstStyle/>
          <a:p>
            <a:r>
              <a:rPr lang="en-US" sz="3200" b="1" dirty="0"/>
              <a:t>How does this theory apply to nursing care? </a:t>
            </a:r>
            <a:endParaRPr lang="en-ZA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95867" y="1736725"/>
            <a:ext cx="11396133" cy="4637088"/>
          </a:xfrm>
        </p:spPr>
        <p:txBody>
          <a:bodyPr>
            <a:normAutofit lnSpcReduction="10000"/>
          </a:bodyPr>
          <a:lstStyle/>
          <a:p>
            <a:r>
              <a:rPr lang="en-US" sz="2800" dirty="0"/>
              <a:t>Each phase needs to be successfully complete to prevent fixati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Oral phase</a:t>
            </a:r>
            <a:r>
              <a:rPr lang="en-US" sz="2800" dirty="0"/>
              <a:t>: If you are nursing a baby, ensure that feeding times are pleasurabl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Anal phase: </a:t>
            </a:r>
            <a:r>
              <a:rPr lang="en-US" sz="2800" dirty="0"/>
              <a:t>Warm caring attitude when changing diapers, positive response during toilet train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Phallic: </a:t>
            </a:r>
            <a:r>
              <a:rPr lang="en-US" sz="2800" dirty="0"/>
              <a:t>Child is attracted to the parent of opposite sex (Oedipus or Electra complex). Exploring of genital: don’t respond negative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Latency: </a:t>
            </a:r>
            <a:r>
              <a:rPr lang="en-US" sz="2800" dirty="0"/>
              <a:t>Focus on peers of same sex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b="1" dirty="0"/>
              <a:t>Genital</a:t>
            </a:r>
            <a:r>
              <a:rPr lang="en-US" sz="2800" dirty="0"/>
              <a:t>: Development of independence and sexual relationships</a:t>
            </a:r>
          </a:p>
          <a:p>
            <a:r>
              <a:rPr lang="en-US" sz="2800" dirty="0"/>
              <a:t>Teaching parent to make activities of each phase positive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343063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ZA" sz="3200" b="1" dirty="0"/>
              <a:t>Life span considerations Kozier p 1026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11200" y="1854200"/>
            <a:ext cx="6856413" cy="3919538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Birth-18 month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Toddler (1-3 year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Pre-school (4-5 year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School age (6-12 year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Adolescence (12-18 year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Young adults (18-40 year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Middle age (40-65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Older adults (65- )</a:t>
            </a:r>
          </a:p>
          <a:p>
            <a:endParaRPr lang="en-ZA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655" y="2226733"/>
            <a:ext cx="3948681" cy="237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9343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0200" y="1"/>
            <a:ext cx="10185400" cy="1193800"/>
          </a:xfrm>
        </p:spPr>
        <p:txBody>
          <a:bodyPr>
            <a:normAutofit/>
          </a:bodyPr>
          <a:lstStyle/>
          <a:p>
            <a:br>
              <a:rPr lang="en-US" sz="3200" b="1" dirty="0"/>
            </a:br>
            <a:r>
              <a:rPr lang="en-US" sz="3200" b="1" dirty="0"/>
              <a:t>Components of sexual health</a:t>
            </a:r>
            <a:endParaRPr lang="en-ZA" sz="3200" b="1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729203099"/>
              </p:ext>
            </p:extLst>
          </p:nvPr>
        </p:nvGraphicFramePr>
        <p:xfrm>
          <a:off x="1253067" y="1256144"/>
          <a:ext cx="10107660" cy="45265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755037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19125" y="609600"/>
            <a:ext cx="11572875" cy="427038"/>
          </a:xfrm>
        </p:spPr>
        <p:txBody>
          <a:bodyPr>
            <a:noAutofit/>
          </a:bodyPr>
          <a:lstStyle/>
          <a:p>
            <a:br>
              <a:rPr lang="en-US" sz="3200" b="1" dirty="0"/>
            </a:br>
            <a:r>
              <a:rPr lang="en-US" sz="3200" b="1" dirty="0"/>
              <a:t>Sexual rights: Sexual health, human rights and the law-WHO</a:t>
            </a:r>
            <a:endParaRPr lang="en-ZA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109133" y="1566333"/>
            <a:ext cx="9188980" cy="5012267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“ </a:t>
            </a:r>
            <a:r>
              <a:rPr lang="en-US" sz="2800" dirty="0"/>
              <a:t>the possibility of having pleasurable and safe sexual experiences, free of coercion discrimination and violence”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Control of fertility: Abortion, contraception, STI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Healthcare related to STI, sexual dysfunc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exual violence, genital mutil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Freedom to diverse sexual practi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Non-discrimination e.g., HIV, sex workers, teenage sexual activ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Privacy and confidentia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Right to education and informed decision mak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Conscientious objection</a:t>
            </a: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21085586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50875" y="381001"/>
            <a:ext cx="11541125" cy="1083732"/>
          </a:xfrm>
        </p:spPr>
        <p:txBody>
          <a:bodyPr>
            <a:normAutofit fontScale="90000"/>
          </a:bodyPr>
          <a:lstStyle/>
          <a:p>
            <a:br>
              <a:rPr lang="en-US" sz="4000" dirty="0"/>
            </a:br>
            <a:br>
              <a:rPr lang="en-US" sz="4000" dirty="0"/>
            </a:br>
            <a:r>
              <a:rPr lang="en-US" sz="4000" b="1" dirty="0"/>
              <a:t>Post</a:t>
            </a:r>
            <a:r>
              <a:rPr lang="en-US" sz="4000" dirty="0"/>
              <a:t>-</a:t>
            </a:r>
            <a:r>
              <a:rPr lang="en-US" sz="3600" b="1" dirty="0"/>
              <a:t>Class activity-Sexual right, human rights and the law</a:t>
            </a:r>
            <a:endParaRPr lang="en-ZA" sz="36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058332" y="2082799"/>
            <a:ext cx="9000067" cy="4437063"/>
          </a:xfrm>
        </p:spPr>
        <p:txBody>
          <a:bodyPr>
            <a:normAutofit lnSpcReduction="10000"/>
          </a:bodyPr>
          <a:lstStyle/>
          <a:p>
            <a:r>
              <a:rPr lang="en-US" sz="3600" dirty="0"/>
              <a:t>Make use of the Padlet discussion wall created to express your ideas on the following topic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/>
              <a:t>Confidentiality and teenage sex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/>
              <a:t>Criminalisation of certain sexual activities e.g., sex workers, homosexual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/>
              <a:t>Legal definition of rape and cultural practi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b="1" dirty="0">
                <a:solidFill>
                  <a:srgbClr val="FF0000"/>
                </a:solidFill>
              </a:rPr>
              <a:t>On page 15 there is a discussion on conscientious objection</a:t>
            </a:r>
          </a:p>
          <a:p>
            <a:endParaRPr lang="en-US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590328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812800"/>
            <a:ext cx="11458575" cy="223838"/>
          </a:xfrm>
        </p:spPr>
        <p:txBody>
          <a:bodyPr>
            <a:normAutofit fontScale="90000"/>
          </a:bodyPr>
          <a:lstStyle/>
          <a:p>
            <a:br>
              <a:rPr lang="en-US" sz="4000" b="1" dirty="0"/>
            </a:br>
            <a:r>
              <a:rPr lang="en-US" sz="4000" b="1" dirty="0"/>
              <a:t>Factors influencing sexuality</a:t>
            </a:r>
            <a:br>
              <a:rPr lang="en-US" b="1" dirty="0"/>
            </a:br>
            <a:r>
              <a:rPr lang="en-US" b="1" dirty="0"/>
              <a:t>(read more on Moodle)</a:t>
            </a:r>
            <a:endParaRPr lang="en-ZA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53533" y="1786467"/>
            <a:ext cx="9500130" cy="2626783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/>
              <a:t>Famil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/>
              <a:t>Personal expectations and ethic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/>
              <a:t>Relig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/>
              <a:t>Culture</a:t>
            </a:r>
          </a:p>
          <a:p>
            <a:endParaRPr lang="en-US" dirty="0"/>
          </a:p>
          <a:p>
            <a:endParaRPr lang="en-US" dirty="0"/>
          </a:p>
          <a:p>
            <a:endParaRPr lang="en-ZA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640" y="0"/>
            <a:ext cx="4339359" cy="240395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2639" y="4422391"/>
            <a:ext cx="4339361" cy="243560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3563" y="4314601"/>
            <a:ext cx="3645973" cy="24229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3169" y="2413097"/>
            <a:ext cx="4338829" cy="2167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226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GB" sz="3200" b="1" dirty="0"/>
              <a:t>Factors altering sexual function (Kozier &amp; Erb p 1035-1038)</a:t>
            </a:r>
            <a:endParaRPr lang="en-ZA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965200" y="1761067"/>
            <a:ext cx="9785350" cy="4415896"/>
          </a:xfrm>
        </p:spPr>
        <p:txBody>
          <a:bodyPr>
            <a:normAutofit fontScale="92500" lnSpcReduction="10000"/>
          </a:bodyPr>
          <a:lstStyle/>
          <a:p>
            <a:r>
              <a:rPr lang="en-GB" sz="3200" b="1" dirty="0"/>
              <a:t>Past and current factors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Sociocultural factors e.g. strict upbringing, workload, privac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Psychological factors e.g. sexual abuse, rape, fear of failu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Cognitive e.g. low self-esteem, sexual orien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Sexual problems e.g. relationship issue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Health problems e.g. heart conditions, injury, surgeries such as mastectom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Medication e.g. side effects prevent erection or reduce libido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Recreational drugs interfere with normal sexual activ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800" dirty="0"/>
              <a:t>Alcohol e.g. delay ejaculation or prevent erection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520021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846666" y="365125"/>
            <a:ext cx="9668933" cy="1325563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+mn-lt"/>
              </a:rPr>
              <a:t>Sexual health</a:t>
            </a:r>
            <a:endParaRPr lang="en-ZA" sz="3200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176866" y="1579563"/>
            <a:ext cx="9440333" cy="4267200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Physical changes during adolesce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Examples of STI’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Evidence-Based practice (</a:t>
            </a:r>
            <a:r>
              <a:rPr lang="en-US" sz="3200"/>
              <a:t>1029 Kozier and Erb)</a:t>
            </a:r>
            <a:endParaRPr lang="en-US" sz="3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Sexual health: respect, with consent, free of coercion, fear, discrimination, violence, stigma and sham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3200" dirty="0"/>
              <a:t>Evidence of abuse, rape, domestic violence</a:t>
            </a:r>
            <a:endParaRPr lang="en-US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2434701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68866" y="365125"/>
            <a:ext cx="9846733" cy="1325563"/>
          </a:xfrm>
        </p:spPr>
        <p:txBody>
          <a:bodyPr>
            <a:normAutofit/>
          </a:bodyPr>
          <a:lstStyle/>
          <a:p>
            <a:r>
              <a:rPr lang="en-US" sz="3200" b="1" dirty="0"/>
              <a:t>Sexual practices and health</a:t>
            </a:r>
            <a:endParaRPr lang="en-ZA" sz="32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159933" y="1930399"/>
            <a:ext cx="8754534" cy="3768725"/>
          </a:xfrm>
        </p:spPr>
        <p:txBody>
          <a:bodyPr>
            <a:normAutofit fontScale="77500" lnSpcReduction="2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/>
              <a:t>Oral-genital sex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/>
              <a:t>Anal stimul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/>
              <a:t>Genital intercours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/>
              <a:t>Sexual desire disord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/>
              <a:t>Sexual arousal disord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/>
              <a:t>Orgasmic disord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/>
              <a:t>Sexual pain disord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/>
              <a:t>Satisfaction problem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500" dirty="0"/>
              <a:t>Sexual transmitted diseases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44335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85800" y="365126"/>
            <a:ext cx="9829800" cy="837142"/>
          </a:xfrm>
        </p:spPr>
        <p:txBody>
          <a:bodyPr/>
          <a:lstStyle/>
          <a:p>
            <a:r>
              <a:rPr lang="en-ZA" sz="4000" b="1" dirty="0"/>
              <a:t>Objectiv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303866" y="1347788"/>
            <a:ext cx="9403821" cy="4829175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ZA" sz="3600" dirty="0"/>
              <a:t>The student should be able to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Define sexuality-related ter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Freudian theo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Describe sexual development throughout lif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800" dirty="0"/>
              <a:t>Understand the factors influencing sexua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Identify and describe component of sexual heal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Understand sexual rights of patient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Describe sexual variations in experience and expression</a:t>
            </a:r>
            <a:endParaRPr lang="en-ZA" sz="28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800" dirty="0"/>
              <a:t>Understand how sexuality influences health in gener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/>
              <a:t>Discuss factors that can alter sexual function</a:t>
            </a:r>
            <a:endParaRPr lang="en-ZA" sz="2800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553605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70932" y="365125"/>
            <a:ext cx="10244667" cy="1325563"/>
          </a:xfrm>
        </p:spPr>
        <p:txBody>
          <a:bodyPr/>
          <a:lstStyle/>
          <a:p>
            <a:r>
              <a:rPr lang="en-ZA" sz="4000" b="1" dirty="0"/>
              <a:t>Introduc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905933" y="1752600"/>
            <a:ext cx="8801630" cy="2012950"/>
          </a:xfrm>
        </p:spPr>
        <p:txBody>
          <a:bodyPr>
            <a:normAutofit fontScale="700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dirty="0"/>
              <a:t>Why is it so difficult to talk about human sexuality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dirty="0"/>
              <a:t>Why is it important that we as nurses understand sexuality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dirty="0"/>
              <a:t>Think of a few examples where sexuality need to be considered when working in the clinical fiel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You can add more information on the Padlet wall as we discuss these questions</a:t>
            </a:r>
            <a:endParaRPr lang="en-ZA" dirty="0"/>
          </a:p>
          <a:p>
            <a:endParaRPr lang="en-ZA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6059" y="3925613"/>
            <a:ext cx="4988407" cy="2704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242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728132" y="365125"/>
            <a:ext cx="9787467" cy="1325563"/>
          </a:xfrm>
        </p:spPr>
        <p:txBody>
          <a:bodyPr>
            <a:normAutofit fontScale="90000"/>
          </a:bodyPr>
          <a:lstStyle/>
          <a:p>
            <a:r>
              <a:rPr lang="en-ZA" sz="3600" b="1" dirty="0"/>
              <a:t>Why is it important for a nurse to consider the sexuality of the patient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728133" y="1499616"/>
            <a:ext cx="11463867" cy="4951984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Holistic c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Lifespan changes in sexual development that might be abnormal e.g., delayed adolescence </a:t>
            </a:r>
            <a:endParaRPr lang="en-ZA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Dysfunction of the reproductive system e.g. prostate proble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Pregnanc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Diseases connected to sexual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Transmission of infec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Pathology in other systems which has an effect on the reproductive system e.g. cardiovascular disord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Surgical interventions e.g. prostatectomy, mastectomy, TAH, C-section, normal vaginal birt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2400" dirty="0"/>
              <a:t>Pathology with a psychological influence on sexuality</a:t>
            </a: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03266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30200" y="365125"/>
            <a:ext cx="10185400" cy="1325563"/>
          </a:xfrm>
        </p:spPr>
        <p:txBody>
          <a:bodyPr/>
          <a:lstStyle/>
          <a:p>
            <a:r>
              <a:rPr lang="en-ZA" sz="4000" b="1" dirty="0"/>
              <a:t>Professional attitud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677333" y="1662113"/>
            <a:ext cx="6382280" cy="4432300"/>
          </a:xfrm>
        </p:spPr>
        <p:txBody>
          <a:bodyPr>
            <a:normAutofit fontScale="850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Respect and dign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Treat all patients equally irrespective of your personal view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Be assured of your personal view but always focus on the health and well-being of your pati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ZA" sz="3200" dirty="0"/>
              <a:t>Refrain from unprofessional behaviour e.g. flirting, making remarks or suggestion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1883" y="1778000"/>
            <a:ext cx="4042317" cy="2686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114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48733" y="625475"/>
            <a:ext cx="11093980" cy="411163"/>
          </a:xfrm>
        </p:spPr>
        <p:txBody>
          <a:bodyPr>
            <a:noAutofit/>
          </a:bodyPr>
          <a:lstStyle/>
          <a:p>
            <a:r>
              <a:rPr lang="en-ZA" sz="3200" b="1" dirty="0"/>
              <a:t>Sexuality-related ter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007533" y="1533525"/>
            <a:ext cx="5969000" cy="3749675"/>
          </a:xfrm>
        </p:spPr>
        <p:txBody>
          <a:bodyPr>
            <a:normAutofit fontScale="77500" lnSpcReduction="20000"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300" dirty="0">
                <a:cs typeface="Arial" panose="020B0604020202020204" pitchFamily="34" charset="0"/>
              </a:rPr>
              <a:t>Sex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300" dirty="0">
                <a:cs typeface="Arial" panose="020B0604020202020204" pitchFamily="34" charset="0"/>
              </a:rPr>
              <a:t>Adolescenc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300" dirty="0">
                <a:cs typeface="Arial" panose="020B0604020202020204" pitchFamily="34" charset="0"/>
              </a:rPr>
              <a:t>Masturb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300" dirty="0">
                <a:cs typeface="Arial" panose="020B0604020202020204" pitchFamily="34" charset="0"/>
              </a:rPr>
              <a:t>Gender ident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300" dirty="0">
                <a:cs typeface="Arial" panose="020B0604020202020204" pitchFamily="34" charset="0"/>
              </a:rPr>
              <a:t>Menstru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300" dirty="0">
                <a:cs typeface="Arial" panose="020B0604020202020204" pitchFamily="34" charset="0"/>
              </a:rPr>
              <a:t>Oral genital sex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300" dirty="0">
                <a:cs typeface="Arial" panose="020B0604020202020204" pitchFamily="34" charset="0"/>
              </a:rPr>
              <a:t>Puber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300" dirty="0">
                <a:cs typeface="Arial" panose="020B0604020202020204" pitchFamily="34" charset="0"/>
              </a:rPr>
              <a:t>Gender express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300" dirty="0">
                <a:cs typeface="Arial" panose="020B0604020202020204" pitchFamily="34" charset="0"/>
              </a:rPr>
              <a:t>Sexual orientation</a:t>
            </a:r>
          </a:p>
          <a:p>
            <a:pPr marL="342900" indent="-342900"/>
            <a:endParaRPr lang="en-US" dirty="0">
              <a:cs typeface="Arial" panose="020B0604020202020204" pitchFamily="34" charset="0"/>
            </a:endParaRPr>
          </a:p>
          <a:p>
            <a:pPr marL="342900" indent="-342900"/>
            <a:endParaRPr lang="en-US" dirty="0">
              <a:cs typeface="Arial" panose="020B0604020202020204" pitchFamily="34" charset="0"/>
            </a:endParaRPr>
          </a:p>
          <a:p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4000" y="0"/>
            <a:ext cx="4318000" cy="3839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9948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6266" y="365125"/>
            <a:ext cx="10329333" cy="1325563"/>
          </a:xfrm>
        </p:spPr>
        <p:txBody>
          <a:bodyPr/>
          <a:lstStyle/>
          <a:p>
            <a:r>
              <a:rPr lang="en-ZA" sz="4000" b="1" dirty="0"/>
              <a:t>Sexuality-related term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618066" y="1690688"/>
            <a:ext cx="6608233" cy="433705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cs typeface="Arial" panose="020B0604020202020204" pitchFamily="34" charset="0"/>
              </a:rPr>
              <a:t>Intersex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cs typeface="Arial" panose="020B0604020202020204" pitchFamily="34" charset="0"/>
              </a:rPr>
              <a:t>Sexual reassignment treat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cs typeface="Arial" panose="020B0604020202020204" pitchFamily="34" charset="0"/>
              </a:rPr>
              <a:t>Genital intercours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cs typeface="Arial" panose="020B0604020202020204" pitchFamily="34" charset="0"/>
              </a:rPr>
              <a:t>Transgenderism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cs typeface="Arial" panose="020B0604020202020204" pitchFamily="34" charset="0"/>
              </a:rPr>
              <a:t>Transi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>
                <a:cs typeface="Arial" panose="020B0604020202020204" pitchFamily="34" charset="0"/>
              </a:rPr>
              <a:t>Sexual transmitted infections</a:t>
            </a:r>
          </a:p>
          <a:p>
            <a:pPr marL="342900" indent="-342900"/>
            <a:endParaRPr lang="en-US" dirty="0">
              <a:cs typeface="Arial" panose="020B0604020202020204" pitchFamily="34" charset="0"/>
            </a:endParaRPr>
          </a:p>
          <a:p>
            <a:pPr marL="342900" indent="-342900"/>
            <a:endParaRPr lang="en-ZA" dirty="0">
              <a:cs typeface="Arial" panose="020B0604020202020204" pitchFamily="34" charset="0"/>
            </a:endParaRPr>
          </a:p>
          <a:p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7132" y="1295900"/>
            <a:ext cx="3014602" cy="18817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8612" y="3748138"/>
            <a:ext cx="2387631" cy="2347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5218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60400" y="365125"/>
            <a:ext cx="9855200" cy="1325563"/>
          </a:xfrm>
        </p:spPr>
        <p:txBody>
          <a:bodyPr>
            <a:normAutofit/>
          </a:bodyPr>
          <a:lstStyle/>
          <a:p>
            <a:r>
              <a:rPr lang="en-US" sz="3200" b="1" dirty="0"/>
              <a:t>Freudian Theory Kozier &amp; Erb p439-440</a:t>
            </a:r>
            <a:endParaRPr lang="en-ZA" sz="3200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6710" y="1690688"/>
            <a:ext cx="4578158" cy="4759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968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 sz="4000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397"/>
            <a:ext cx="12275127" cy="6863397"/>
          </a:xfrm>
        </p:spPr>
      </p:pic>
    </p:spTree>
    <p:extLst>
      <p:ext uri="{BB962C8B-B14F-4D97-AF65-F5344CB8AC3E}">
        <p14:creationId xmlns:p14="http://schemas.microsoft.com/office/powerpoint/2010/main" val="2680766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sDRGXxQVC5QsPMP7s.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9</TotalTime>
  <Words>866</Words>
  <Application>Microsoft Office PowerPoint</Application>
  <PresentationFormat>Widescreen</PresentationFormat>
  <Paragraphs>136</Paragraphs>
  <Slides>1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ptos</vt:lpstr>
      <vt:lpstr>Aptos Display</vt:lpstr>
      <vt:lpstr>Arial</vt:lpstr>
      <vt:lpstr>Colaborate-Medium</vt:lpstr>
      <vt:lpstr>Colaborate-Thin</vt:lpstr>
      <vt:lpstr>Office Theme</vt:lpstr>
      <vt:lpstr>think-cell Slide</vt:lpstr>
      <vt:lpstr>PowerPoint Presentation</vt:lpstr>
      <vt:lpstr>Objectives</vt:lpstr>
      <vt:lpstr>Introduction</vt:lpstr>
      <vt:lpstr>Why is it important for a nurse to consider the sexuality of the patient?</vt:lpstr>
      <vt:lpstr>Professional attitude</vt:lpstr>
      <vt:lpstr>Sexuality-related terms</vt:lpstr>
      <vt:lpstr>Sexuality-related terms</vt:lpstr>
      <vt:lpstr>Freudian Theory Kozier &amp; Erb p439-440</vt:lpstr>
      <vt:lpstr>PowerPoint Presentation</vt:lpstr>
      <vt:lpstr>How does this theory apply to nursing care? </vt:lpstr>
      <vt:lpstr>Life span considerations Kozier p 1026</vt:lpstr>
      <vt:lpstr> Components of sexual health</vt:lpstr>
      <vt:lpstr> Sexual rights: Sexual health, human rights and the law-WHO</vt:lpstr>
      <vt:lpstr>  Post-Class activity-Sexual right, human rights and the law</vt:lpstr>
      <vt:lpstr> Factors influencing sexuality (read more on Moodle)</vt:lpstr>
      <vt:lpstr>Factors altering sexual function (Kozier &amp; Erb p 1035-1038)</vt:lpstr>
      <vt:lpstr>Sexual health</vt:lpstr>
      <vt:lpstr>Sexual practices and health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ndsay Finnemore</dc:creator>
  <cp:lastModifiedBy>Naomi Hattingh</cp:lastModifiedBy>
  <cp:revision>15</cp:revision>
  <dcterms:created xsi:type="dcterms:W3CDTF">2024-11-18T11:26:20Z</dcterms:created>
  <dcterms:modified xsi:type="dcterms:W3CDTF">2025-04-30T01:26:23Z</dcterms:modified>
</cp:coreProperties>
</file>